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12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hu-H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14E9C-8663-4706-A7C8-50DCEA6B6FC6}" type="datetimeFigureOut">
              <a:rPr lang="hu-HU" smtClean="0"/>
              <a:t>2019. 10. 29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E90A-5932-48DC-A82B-33B605C1A2E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799923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14E9C-8663-4706-A7C8-50DCEA6B6FC6}" type="datetimeFigureOut">
              <a:rPr lang="hu-HU" smtClean="0"/>
              <a:t>2019. 10. 29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E90A-5932-48DC-A82B-33B605C1A2E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59290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14E9C-8663-4706-A7C8-50DCEA6B6FC6}" type="datetimeFigureOut">
              <a:rPr lang="hu-HU" smtClean="0"/>
              <a:t>2019. 10. 29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E90A-5932-48DC-A82B-33B605C1A2E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036226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14E9C-8663-4706-A7C8-50DCEA6B6FC6}" type="datetimeFigureOut">
              <a:rPr lang="hu-HU" smtClean="0"/>
              <a:t>2019. 10. 29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E90A-5932-48DC-A82B-33B605C1A2E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005804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14E9C-8663-4706-A7C8-50DCEA6B6FC6}" type="datetimeFigureOut">
              <a:rPr lang="hu-HU" smtClean="0"/>
              <a:t>2019. 10. 29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E90A-5932-48DC-A82B-33B605C1A2E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624448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14E9C-8663-4706-A7C8-50DCEA6B6FC6}" type="datetimeFigureOut">
              <a:rPr lang="hu-HU" smtClean="0"/>
              <a:t>2019. 10. 29.</a:t>
            </a:fld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E90A-5932-48DC-A82B-33B605C1A2E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174679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14E9C-8663-4706-A7C8-50DCEA6B6FC6}" type="datetimeFigureOut">
              <a:rPr lang="hu-HU" smtClean="0"/>
              <a:t>2019. 10. 29.</a:t>
            </a:fld>
            <a:endParaRPr lang="hu-H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E90A-5932-48DC-A82B-33B605C1A2E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315002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14E9C-8663-4706-A7C8-50DCEA6B6FC6}" type="datetimeFigureOut">
              <a:rPr lang="hu-HU" smtClean="0"/>
              <a:t>2019. 10. 29.</a:t>
            </a:fld>
            <a:endParaRPr lang="hu-H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E90A-5932-48DC-A82B-33B605C1A2E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52483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14E9C-8663-4706-A7C8-50DCEA6B6FC6}" type="datetimeFigureOut">
              <a:rPr lang="hu-HU" smtClean="0"/>
              <a:t>2019. 10. 29.</a:t>
            </a:fld>
            <a:endParaRPr lang="hu-H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E90A-5932-48DC-A82B-33B605C1A2E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979072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14E9C-8663-4706-A7C8-50DCEA6B6FC6}" type="datetimeFigureOut">
              <a:rPr lang="hu-HU" smtClean="0"/>
              <a:t>2019. 10. 29.</a:t>
            </a:fld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E90A-5932-48DC-A82B-33B605C1A2E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195496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14E9C-8663-4706-A7C8-50DCEA6B6FC6}" type="datetimeFigureOut">
              <a:rPr lang="hu-HU" smtClean="0"/>
              <a:t>2019. 10. 29.</a:t>
            </a:fld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5E90A-5932-48DC-A82B-33B605C1A2E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278182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C14E9C-8663-4706-A7C8-50DCEA6B6FC6}" type="datetimeFigureOut">
              <a:rPr lang="hu-HU" smtClean="0"/>
              <a:t>2019. 10. 29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5E90A-5932-48DC-A82B-33B605C1A2E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23446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1698625" y="20565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E0A93523-4BA1-44A6-8412-544EEA7171E9}" type="datetime'''''''''''''''''''''1''7''''''''''''''''''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en-US" sz="900" b="0" dirty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981327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dtVkq9RQyYOU2qs5IGY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más Bunth</dc:creator>
  <cp:lastModifiedBy>Tamás Bunth</cp:lastModifiedBy>
  <cp:revision>1</cp:revision>
  <dcterms:created xsi:type="dcterms:W3CDTF">2019-10-29T12:32:31Z</dcterms:created>
  <dcterms:modified xsi:type="dcterms:W3CDTF">2019-10-29T12:33:02Z</dcterms:modified>
</cp:coreProperties>
</file>